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84" d="100"/>
          <a:sy n="84" d="100"/>
        </p:scale>
        <p:origin x="-1116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60388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792148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3892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329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4759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948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876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949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63986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7756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8968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443799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328843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24 July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150544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duce </a:t>
            </a:r>
            <a:r>
              <a:rPr lang="en-US" dirty="0"/>
              <a:t>bottle for sensitive products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 smtClean="0"/>
              <a:t>HR </a:t>
            </a:r>
            <a:r>
              <a:rPr lang="en-US" altLang="fr-FR" dirty="0"/>
              <a:t>Kit on Series2</a:t>
            </a:r>
            <a:endParaRPr lang="en-US" altLang="fr-FR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en-US" dirty="0">
                <a:solidFill>
                  <a:srgbClr val="000000"/>
                </a:solidFill>
              </a:rPr>
              <a:t>Value: </a:t>
            </a:r>
            <a:r>
              <a:rPr lang="en-US" dirty="0" smtClean="0">
                <a:solidFill>
                  <a:srgbClr val="000000"/>
                </a:solidFill>
              </a:rPr>
              <a:t>Flexibility</a:t>
            </a:r>
            <a:endParaRPr lang="en-US" dirty="0">
              <a:solidFill>
                <a:srgbClr val="000000"/>
              </a:solidFill>
            </a:endParaRPr>
          </a:p>
          <a:p>
            <a:r>
              <a:rPr lang="en-US" dirty="0">
                <a:solidFill>
                  <a:srgbClr val="000000"/>
                </a:solidFill>
              </a:rPr>
              <a:t>Equipment: </a:t>
            </a:r>
            <a:r>
              <a:rPr lang="en-US" dirty="0" smtClean="0">
                <a:solidFill>
                  <a:srgbClr val="000000"/>
                </a:solidFill>
              </a:rPr>
              <a:t>Series </a:t>
            </a:r>
            <a:r>
              <a:rPr lang="en-US" dirty="0">
                <a:solidFill>
                  <a:srgbClr val="000000"/>
                </a:solidFill>
              </a:rPr>
              <a:t>2 blowers</a:t>
            </a:r>
          </a:p>
          <a:p>
            <a:r>
              <a:rPr lang="en-US" dirty="0">
                <a:solidFill>
                  <a:srgbClr val="000000"/>
                </a:solidFill>
              </a:rPr>
              <a:t>Catalogue code: </a:t>
            </a:r>
            <a:r>
              <a:rPr lang="en-US" dirty="0" smtClean="0">
                <a:solidFill>
                  <a:srgbClr val="000000"/>
                </a:solidFill>
              </a:rPr>
              <a:t>511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5548869"/>
              </p:ext>
            </p:extLst>
          </p:nvPr>
        </p:nvGraphicFramePr>
        <p:xfrm>
          <a:off x="651885" y="1743075"/>
          <a:ext cx="7997390" cy="4090380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baseline="0" dirty="0" smtClean="0"/>
                        <a:t>H.R. (Heat </a:t>
                      </a:r>
                      <a:r>
                        <a:rPr lang="en-US" sz="1200" b="0" baseline="0" dirty="0" err="1" smtClean="0"/>
                        <a:t>Rresistant</a:t>
                      </a:r>
                      <a:r>
                        <a:rPr lang="en-US" sz="1200" b="0" baseline="0" dirty="0" smtClean="0"/>
                        <a:t>) option allows the manufacture of bottles being able to be subjected to the following particular constraints:</a:t>
                      </a:r>
                    </a:p>
                    <a:p>
                      <a:pPr marL="357188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t filling (up to 88 °C) without deformation.</a:t>
                      </a:r>
                    </a:p>
                    <a:p>
                      <a:pPr marL="357188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itioning</a:t>
                      </a:r>
                    </a:p>
                    <a:p>
                      <a:pPr marL="357188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fill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1" indent="-1825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GB" altLang="fr-FR" sz="1200" b="0" baseline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The process which provides the bottles with these properties is known as ‘</a:t>
                      </a:r>
                      <a:r>
                        <a:rPr lang="en-GB" altLang="fr-FR" sz="1200" b="0" baseline="0" noProof="0" dirty="0" err="1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thermofixing</a:t>
                      </a:r>
                      <a:r>
                        <a:rPr lang="en-GB" altLang="fr-FR" sz="1200" b="0" baseline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’.</a:t>
                      </a:r>
                    </a:p>
                    <a:p>
                      <a:pPr marL="182563" marR="0" lvl="1" indent="-1825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GB" altLang="fr-FR" sz="1200" b="0" baseline="0" noProof="0" dirty="0" err="1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Thermofixing</a:t>
                      </a:r>
                      <a:r>
                        <a:rPr lang="en-GB" altLang="fr-FR" sz="1200" b="0" baseline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 increases the crystallinity of the article being produced and is obtained by associating the following two processes: </a:t>
                      </a:r>
                    </a:p>
                    <a:p>
                      <a:pPr marL="357188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altLang="fr-F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i-orientation: the standard mechanical process by which a heated preform is stretched and blown.</a:t>
                      </a:r>
                    </a:p>
                    <a:p>
                      <a:pPr marL="357188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altLang="fr-F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ted </a:t>
                      </a:r>
                      <a:r>
                        <a:rPr kumimoji="0" lang="en-GB" altLang="fr-FR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ds</a:t>
                      </a:r>
                      <a:r>
                        <a:rPr kumimoji="0" lang="en-GB" altLang="fr-F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: an optional thermic process which reduces the tensile stress produced in the articles by the bi-orientation process.</a:t>
                      </a:r>
                    </a:p>
                    <a:p>
                      <a:pPr marL="182563" marR="0" lvl="1" indent="-1825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GB" altLang="fr-FR" sz="1200" b="0" baseline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The </a:t>
                      </a:r>
                      <a:r>
                        <a:rPr lang="en-GB" altLang="fr-FR" sz="1200" b="0" baseline="0" noProof="0" dirty="0" err="1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thermofixing</a:t>
                      </a:r>
                      <a:r>
                        <a:rPr lang="en-GB" altLang="fr-FR" sz="1200" b="0" baseline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 process, i.e. the HR option, requires specific machine settings according to the bottle being produced:</a:t>
                      </a:r>
                    </a:p>
                    <a:p>
                      <a:pPr marL="357188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altLang="fr-F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igher oven temperatures: aerated spindle tips, independent cooling shields and extra infrared temperature sensors.</a:t>
                      </a:r>
                    </a:p>
                    <a:p>
                      <a:pPr marL="357188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altLang="fr-F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ted </a:t>
                      </a:r>
                      <a:r>
                        <a:rPr kumimoji="0" lang="en-GB" altLang="fr-FR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ds</a:t>
                      </a:r>
                      <a:r>
                        <a:rPr kumimoji="0" lang="en-GB" altLang="fr-F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: a regulated oil circuit, interface panel and special rotary unions.</a:t>
                      </a:r>
                    </a:p>
                    <a:p>
                      <a:pPr marL="357188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altLang="fr-F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apid item cooling and </a:t>
                      </a:r>
                      <a:r>
                        <a:rPr kumimoji="0" lang="en-GB" altLang="fr-FR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d</a:t>
                      </a:r>
                      <a:r>
                        <a:rPr kumimoji="0" lang="en-GB" altLang="fr-F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release assistance: air sweep system and 4-stroke nozzle </a:t>
                      </a:r>
                      <a:endParaRPr kumimoji="0" lang="en-US" altLang="fr-FR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0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4" t="3845" r="676"/>
          <a:stretch>
            <a:fillRect/>
          </a:stretch>
        </p:blipFill>
        <p:spPr bwMode="auto">
          <a:xfrm>
            <a:off x="1685964" y="3789040"/>
            <a:ext cx="1656184" cy="1743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921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</TotalTime>
  <Words>200</Words>
  <Application>Microsoft Office PowerPoint</Application>
  <PresentationFormat>Affichage à l'écran (4:3)</PresentationFormat>
  <Paragraphs>19</Paragraphs>
  <Slides>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3" baseType="lpstr">
      <vt:lpstr>16_Sidel Template 2013</vt:lpstr>
      <vt:lpstr>think-cell Folie</vt:lpstr>
      <vt:lpstr>Produce bottle for sensitive products  </vt:lpstr>
    </vt:vector>
  </TitlesOfParts>
  <Company>Side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rease hygiene level </dc:title>
  <dc:creator>Gouriou, Lydie</dc:creator>
  <cp:lastModifiedBy>Gouriou, Lydie</cp:lastModifiedBy>
  <cp:revision>3</cp:revision>
  <dcterms:created xsi:type="dcterms:W3CDTF">2014-07-24T06:59:34Z</dcterms:created>
  <dcterms:modified xsi:type="dcterms:W3CDTF">2014-07-24T07:11:36Z</dcterms:modified>
</cp:coreProperties>
</file>